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256" r:id="rId5"/>
  </p:sldIdLst>
  <p:sldSz cx="12192000" cy="6858000"/>
  <p:notesSz cx="6858000" cy="9144000"/>
  <p:defaultTextStyle>
    <a:defPPr>
      <a:defRPr lang="th-TH"/>
    </a:defPPr>
    <a:lvl1pPr marL="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304849A-D8A2-4C10-9797-67145901A98D}" v="1" dt="2022-01-26T01:57:57.621"/>
    <p1510:client id="{A765A465-F180-4DE7-A6D1-1071B44245F9}" v="12" dt="2021-09-20T08:51:02.558"/>
    <p1510:client id="{F81A4473-E78D-4682-98B8-BA0E26B060DB}" v="35" dt="2021-09-27T06:40:46.18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22" d="100"/>
          <a:sy n="122" d="100"/>
        </p:scale>
        <p:origin x="96" y="2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7DFD00-210C-4BA1-904F-15ADDCCBE91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6BDE293-59F4-44C6-94C2-9F95356B0FA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th-T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97A01C-6F02-4A2C-A58F-C25949E85C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558308-A602-428C-9C3E-7E670311303B}" type="datetimeFigureOut">
              <a:rPr lang="th-TH" smtClean="0"/>
              <a:t>03/03/66</a:t>
            </a:fld>
            <a:endParaRPr lang="th-T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55D805-8666-4FE3-8177-786F61A5EB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A33456-5F67-4D38-B75F-14EA6F85CA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3514BE-7395-467C-8F2F-AE40FC364601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35827357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688AC5-19F5-47E4-8FAA-B397FA5A2F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12200C5-0DC1-4F1A-8039-16631A3321E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h-T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C22C76-CCDF-4ADE-A811-0B7F7775E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558308-A602-428C-9C3E-7E670311303B}" type="datetimeFigureOut">
              <a:rPr lang="th-TH" smtClean="0"/>
              <a:t>03/03/66</a:t>
            </a:fld>
            <a:endParaRPr lang="th-T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25D3C5-67BD-4239-988C-5928858F87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112B36-E6CF-46D4-9084-D2A16CED1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3514BE-7395-467C-8F2F-AE40FC364601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27925895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5643C2C-82DB-422C-AE20-ECB4A532693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75C0E14-3C1D-40D2-AD03-D851CF80C67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h-T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D75300-0B94-48AC-994E-E0CD10699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558308-A602-428C-9C3E-7E670311303B}" type="datetimeFigureOut">
              <a:rPr lang="th-TH" smtClean="0"/>
              <a:t>03/03/66</a:t>
            </a:fld>
            <a:endParaRPr lang="th-T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BCF5A8-31EF-4844-8315-4006D418F8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65D6E7-4261-4117-925A-4F9E1B7489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3514BE-7395-467C-8F2F-AE40FC364601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146816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F6BCF2-E087-4E32-88F9-8579E94717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805629-99E8-4772-9339-85E1917BDE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h-T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612936-77A5-44A5-BC3A-590DD25181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558308-A602-428C-9C3E-7E670311303B}" type="datetimeFigureOut">
              <a:rPr lang="th-TH" smtClean="0"/>
              <a:t>03/03/66</a:t>
            </a:fld>
            <a:endParaRPr lang="th-T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7988371-DDC0-4DDE-B9A5-FC5C2BD3A6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EA14A8-0565-4D71-BB55-B0F096ABB4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3514BE-7395-467C-8F2F-AE40FC364601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37372277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02A017-A0E6-43D4-A574-494331FF1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45F6E8-959E-45E4-8B95-3832D84AFE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27580B-BBFA-4EC5-BC8D-9583470BA8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558308-A602-428C-9C3E-7E670311303B}" type="datetimeFigureOut">
              <a:rPr lang="th-TH" smtClean="0"/>
              <a:t>03/03/66</a:t>
            </a:fld>
            <a:endParaRPr lang="th-T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30CF37-26AB-4A74-84AE-9D3C25B01E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11C5F5-AB91-4615-86F0-DF4C3A380C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3514BE-7395-467C-8F2F-AE40FC364601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7440261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8245CA-028E-4F24-B3DB-A3593C003B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FC4451-B46D-424F-A317-D5B0325C992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h-TH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AC8118A-691A-485C-8136-6B217C69C80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h-TH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47E497D-D25E-45CD-A217-578F63704E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558308-A602-428C-9C3E-7E670311303B}" type="datetimeFigureOut">
              <a:rPr lang="th-TH" smtClean="0"/>
              <a:t>03/03/66</a:t>
            </a:fld>
            <a:endParaRPr lang="th-T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C0DF6DF-F5C2-4284-9130-11CF9EA98D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8BE8A9-5592-41DA-AEAD-EE84855D3B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3514BE-7395-467C-8F2F-AE40FC364601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916241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6BEF7B-7D39-4A66-8480-C82D3993D5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CF56739-FFD2-4512-B1DB-0A00F5228C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4BE7924-1C1F-4B6A-A5E0-2AD7EB592E6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h-TH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F59E5DB-A5A3-424A-B978-BC3B82C4662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26421C2-2AC0-474D-B010-472A95858FE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h-TH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9859C98-29E3-42A9-A6F0-22575634D3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558308-A602-428C-9C3E-7E670311303B}" type="datetimeFigureOut">
              <a:rPr lang="th-TH" smtClean="0"/>
              <a:t>03/03/66</a:t>
            </a:fld>
            <a:endParaRPr lang="th-TH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8591950-815E-427A-AF2D-85C3950AF5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E8C354A-E079-44FF-9D64-561C2D4920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3514BE-7395-467C-8F2F-AE40FC364601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41908873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9490EF-FCE9-4695-9870-CD14A4EC80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1B1ED37-DE1E-4D2C-8004-7E24E64D96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558308-A602-428C-9C3E-7E670311303B}" type="datetimeFigureOut">
              <a:rPr lang="th-TH" smtClean="0"/>
              <a:t>03/03/66</a:t>
            </a:fld>
            <a:endParaRPr lang="th-T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0C6AE23-7733-4C0A-812F-5888C19122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EFE1C4-0858-45CC-9CBE-A0D488253D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3514BE-7395-467C-8F2F-AE40FC364601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12339889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0241146-239F-46CC-92FE-36F7E30312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558308-A602-428C-9C3E-7E670311303B}" type="datetimeFigureOut">
              <a:rPr lang="th-TH" smtClean="0"/>
              <a:t>03/03/66</a:t>
            </a:fld>
            <a:endParaRPr lang="th-TH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8B8162-2373-4BA6-964F-B928AAB7B9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ED808E-5A67-4474-A13C-72B357EE79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3514BE-7395-467C-8F2F-AE40FC364601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20065311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7F0F2A-E418-473B-9061-B82A6B30C0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E0E165-F6DF-4A47-8796-F0D7107516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h-T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9BFFDB0-7CC1-41C7-97C8-8E0AA3E3BA2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DAE2601-07E5-48E5-A703-D7D34F3C5A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558308-A602-428C-9C3E-7E670311303B}" type="datetimeFigureOut">
              <a:rPr lang="th-TH" smtClean="0"/>
              <a:t>03/03/66</a:t>
            </a:fld>
            <a:endParaRPr lang="th-T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00A49A-7817-401A-9D4B-90EDA2AACB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381B8E-C64F-4B6D-9872-94B65B9139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3514BE-7395-467C-8F2F-AE40FC364601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18637748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058EED-7061-4628-91AD-25813C5887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70BD65A-E1E3-45FE-93D0-95F13D65AC5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h-T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3A2EE37-5C0B-4579-B5F4-6473D71E4A7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EB71444-9FE9-4D9D-887A-251A1183D5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558308-A602-428C-9C3E-7E670311303B}" type="datetimeFigureOut">
              <a:rPr lang="th-TH" smtClean="0"/>
              <a:t>03/03/66</a:t>
            </a:fld>
            <a:endParaRPr lang="th-T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802BA3-7D5E-4B0C-BA62-E128DCB66A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C72AAC2-3B12-4A8C-BC66-AFF434D789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3514BE-7395-467C-8F2F-AE40FC364601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16032728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43BE6B3-45E7-4561-B3C5-BDA7B70C95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081C3A-02C6-4E88-887C-8D072F85D8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h-T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4567A1-03C5-4100-A79F-2CB348FEA04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558308-A602-428C-9C3E-7E670311303B}" type="datetimeFigureOut">
              <a:rPr lang="th-TH" smtClean="0"/>
              <a:t>03/03/66</a:t>
            </a:fld>
            <a:endParaRPr lang="th-T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6520F2-46D3-46D9-89B3-F35233A0DF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h-T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FECE97-819A-4176-9261-C1EBC3F1AB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3514BE-7395-467C-8F2F-AE40FC364601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251766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h-TH"/>
      </a:defPPr>
      <a:lvl1pPr marL="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979C6CFD-9A61-4448-8CFC-A82DB3A3F420}"/>
              </a:ext>
            </a:extLst>
          </p:cNvPr>
          <p:cNvSpPr txBox="1">
            <a:spLocks/>
          </p:cNvSpPr>
          <p:nvPr/>
        </p:nvSpPr>
        <p:spPr>
          <a:xfrm>
            <a:off x="466969" y="91505"/>
            <a:ext cx="8398737" cy="563074"/>
          </a:xfrm>
          <a:prstGeom prst="rect">
            <a:avLst/>
          </a:prstGeom>
          <a:solidFill>
            <a:schemeClr val="accent1"/>
          </a:solidFill>
        </p:spPr>
        <p:txBody>
          <a:bodyPr vert="horz" lIns="91440" tIns="45720" rIns="91440" bIns="45720" rtlCol="0" anchor="ctr">
            <a:normAutofit fontScale="77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en-US" sz="2800" b="1" dirty="0">
                <a:solidFill>
                  <a:schemeClr val="bg1"/>
                </a:solidFill>
              </a:rPr>
              <a:t>Project: 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Tahoma" panose="020B0604030504040204" pitchFamily="34" charset="0"/>
              </a:rPr>
              <a:t>Interface Pre calculate with Web E-ordering API </a:t>
            </a:r>
            <a:br>
              <a:rPr lang="en-US" altLang="en-US" sz="2400" dirty="0"/>
            </a:br>
            <a:endParaRPr lang="en-GB" sz="2400" dirty="0"/>
          </a:p>
        </p:txBody>
      </p:sp>
      <p:grpSp>
        <p:nvGrpSpPr>
          <p:cNvPr id="5" name="Group 38">
            <a:extLst>
              <a:ext uri="{FF2B5EF4-FFF2-40B4-BE49-F238E27FC236}">
                <a16:creationId xmlns:a16="http://schemas.microsoft.com/office/drawing/2014/main" id="{C2FED396-348C-4100-B04B-E894FE145A47}"/>
              </a:ext>
            </a:extLst>
          </p:cNvPr>
          <p:cNvGrpSpPr>
            <a:grpSpLocks/>
          </p:cNvGrpSpPr>
          <p:nvPr/>
        </p:nvGrpSpPr>
        <p:grpSpPr bwMode="auto">
          <a:xfrm>
            <a:off x="10608562" y="91506"/>
            <a:ext cx="1354138" cy="563074"/>
            <a:chOff x="393698" y="1450587"/>
            <a:chExt cx="3997326" cy="649085"/>
          </a:xfrm>
        </p:grpSpPr>
        <p:sp>
          <p:nvSpPr>
            <p:cNvPr id="6" name="Text Box 10">
              <a:extLst>
                <a:ext uri="{FF2B5EF4-FFF2-40B4-BE49-F238E27FC236}">
                  <a16:creationId xmlns:a16="http://schemas.microsoft.com/office/drawing/2014/main" id="{555BAE3F-9CA0-4175-B38D-7A4C9A34C241}"/>
                </a:ext>
              </a:extLst>
            </p:cNvPr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93698" y="1450587"/>
              <a:ext cx="3997326" cy="175451"/>
            </a:xfrm>
            <a:prstGeom prst="rect">
              <a:avLst/>
            </a:prstGeom>
            <a:solidFill>
              <a:schemeClr val="accent1"/>
            </a:solidFill>
            <a:ln w="12700" algn="ctr">
              <a:solidFill>
                <a:schemeClr val="accent1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>
              <a:lvl1pPr defTabSz="957263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57263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57263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57263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57263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r>
                <a:rPr lang="en-SG" altLang="en-US" sz="1600" b="1" dirty="0">
                  <a:solidFill>
                    <a:schemeClr val="bg1"/>
                  </a:solidFill>
                </a:rPr>
                <a:t>Date</a:t>
              </a:r>
            </a:p>
          </p:txBody>
        </p:sp>
        <p:sp>
          <p:nvSpPr>
            <p:cNvPr id="7" name="Text Placeholder 5">
              <a:extLst>
                <a:ext uri="{FF2B5EF4-FFF2-40B4-BE49-F238E27FC236}">
                  <a16:creationId xmlns:a16="http://schemas.microsoft.com/office/drawing/2014/main" id="{387E2E74-C84F-4C95-B344-171AB30F3928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99310" y="1626041"/>
              <a:ext cx="3991714" cy="473631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36000" tIns="36000" rIns="36000" bIns="36000" anchor="ctr"/>
            <a:lstStyle>
              <a:lvl1pPr defTabSz="957263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57263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57263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57263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57263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ts val="400"/>
                </a:spcBef>
                <a:buFont typeface="Arial" pitchFamily="34" charset="0"/>
                <a:buNone/>
              </a:pPr>
              <a:r>
                <a:rPr lang="en-SG" altLang="en-US" sz="1400" b="1" dirty="0">
                  <a:solidFill>
                    <a:schemeClr val="bg1">
                      <a:lumMod val="75000"/>
                    </a:schemeClr>
                  </a:solidFill>
                  <a:latin typeface="Arial"/>
                  <a:cs typeface="Arial"/>
                </a:rPr>
                <a:t>Present Date</a:t>
              </a:r>
            </a:p>
          </p:txBody>
        </p:sp>
      </p:grpSp>
      <p:graphicFrame>
        <p:nvGraphicFramePr>
          <p:cNvPr id="11" name="Group 3">
            <a:extLst>
              <a:ext uri="{FF2B5EF4-FFF2-40B4-BE49-F238E27FC236}">
                <a16:creationId xmlns:a16="http://schemas.microsoft.com/office/drawing/2014/main" id="{DB11B33F-3532-45B0-A7EA-2EA4E555D53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24354764"/>
              </p:ext>
            </p:extLst>
          </p:nvPr>
        </p:nvGraphicFramePr>
        <p:xfrm>
          <a:off x="449704" y="762000"/>
          <a:ext cx="11511525" cy="1089458"/>
        </p:xfrm>
        <a:graphic>
          <a:graphicData uri="http://schemas.openxmlformats.org/drawingml/2006/table">
            <a:tbl>
              <a:tblPr/>
              <a:tblGrid>
                <a:gridCol w="13359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1755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4754">
                <a:tc rowSpan="3">
                  <a:txBody>
                    <a:bodyPr/>
                    <a:lstStyle/>
                    <a:p>
                      <a:pPr marL="0" marR="0" lvl="1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SG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bjective</a:t>
                      </a:r>
                    </a:p>
                  </a:txBody>
                  <a:tcPr marL="36000" marR="36000" marT="36004" marB="3600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SG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Objective 1 for This Project</a:t>
                      </a:r>
                    </a:p>
                  </a:txBody>
                  <a:tcPr marL="36000" marR="36000" marT="36004" marB="3600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7352">
                <a:tc vMerge="1">
                  <a:txBody>
                    <a:bodyPr/>
                    <a:lstStyle/>
                    <a:p>
                      <a:pPr marL="0" marR="0" lvl="1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776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4" marB="3600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SG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Objective 2 for This Project</a:t>
                      </a:r>
                    </a:p>
                  </a:txBody>
                  <a:tcPr marL="36000" marR="36000" marT="36004" marB="3600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7352">
                <a:tc vMerge="1">
                  <a:txBody>
                    <a:bodyPr/>
                    <a:lstStyle/>
                    <a:p>
                      <a:pPr marL="0" marR="0" lvl="1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776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4" marB="3600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SG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4" marB="3600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2" name="Group 3">
            <a:extLst>
              <a:ext uri="{FF2B5EF4-FFF2-40B4-BE49-F238E27FC236}">
                <a16:creationId xmlns:a16="http://schemas.microsoft.com/office/drawing/2014/main" id="{4EF92D96-012A-4E9F-9A00-4EC574E9072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05215451"/>
              </p:ext>
            </p:extLst>
          </p:nvPr>
        </p:nvGraphicFramePr>
        <p:xfrm>
          <a:off x="451175" y="1971859"/>
          <a:ext cx="5815401" cy="2558196"/>
        </p:xfrm>
        <a:graphic>
          <a:graphicData uri="http://schemas.openxmlformats.org/drawingml/2006/table">
            <a:tbl>
              <a:tblPr/>
              <a:tblGrid>
                <a:gridCol w="58154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82628">
                <a:tc>
                  <a:txBody>
                    <a:bodyPr/>
                    <a:lstStyle>
                      <a:lvl1pPr marL="0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93355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86691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480046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973382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466720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960078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453422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946760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SG" sz="12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xpected Result and Measurable</a:t>
                      </a:r>
                    </a:p>
                  </a:txBody>
                  <a:tcPr marL="36000" marR="36000" marT="35983" marB="35983" anchor="ctr" anchorCtr="1" horzOverflow="overflow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75568">
                <a:tc>
                  <a:txBody>
                    <a:bodyPr/>
                    <a:lstStyle>
                      <a:lvl1pPr marL="0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93355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86691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480046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973382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466720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960078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453422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946760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1" indent="-17145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Example : Reduce Time to tracking 20 % </a:t>
                      </a:r>
                    </a:p>
                    <a:p>
                      <a:pPr marL="171450" marR="0" lvl="1" indent="-17145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Example : Reduce Human Error 100%</a:t>
                      </a:r>
                    </a:p>
                    <a:p>
                      <a:pPr marL="171450" marR="0" lvl="1" indent="-17145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Example : Reduce Manual Process from 4 Step to 1 Step</a:t>
                      </a:r>
                      <a:endParaRPr kumimoji="0" lang="en-SG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1" indent="-17145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SG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83" marB="35983" horzOverflow="overflow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3" name="Group 3">
            <a:extLst>
              <a:ext uri="{FF2B5EF4-FFF2-40B4-BE49-F238E27FC236}">
                <a16:creationId xmlns:a16="http://schemas.microsoft.com/office/drawing/2014/main" id="{8D78A900-4D3B-45E9-8696-B47A8EA9A7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17994858"/>
              </p:ext>
            </p:extLst>
          </p:nvPr>
        </p:nvGraphicFramePr>
        <p:xfrm>
          <a:off x="6400800" y="1971859"/>
          <a:ext cx="5561899" cy="2558196"/>
        </p:xfrm>
        <a:graphic>
          <a:graphicData uri="http://schemas.openxmlformats.org/drawingml/2006/table">
            <a:tbl>
              <a:tblPr/>
              <a:tblGrid>
                <a:gridCol w="55618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82627">
                <a:tc>
                  <a:txBody>
                    <a:bodyPr/>
                    <a:lstStyle>
                      <a:lvl1pPr marL="0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93355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86691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480046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973382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466720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960078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453422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946760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SG" sz="12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Resource / Budget(Estimate) Needs</a:t>
                      </a:r>
                    </a:p>
                  </a:txBody>
                  <a:tcPr marL="36000" marR="36000" marT="35983" marB="35983" anchor="ctr" anchorCtr="1" horzOverflow="overflow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75569">
                <a:tc>
                  <a:txBody>
                    <a:bodyPr/>
                    <a:lstStyle>
                      <a:lvl1pPr marL="0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93355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86691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480046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973382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466720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960078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453422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946760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1" indent="-17145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stimate Budget   17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ndays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  Atos consulting </a:t>
                      </a:r>
                      <a:endParaRPr kumimoji="0" lang="th-TH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1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SG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    17  </a:t>
                      </a:r>
                      <a:r>
                        <a:rPr kumimoji="0" lang="en-SG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ndays</a:t>
                      </a:r>
                      <a:r>
                        <a:rPr kumimoji="0" lang="en-SG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  x    11,500 THB  = 195,500 THB</a:t>
                      </a:r>
                    </a:p>
                    <a:p>
                      <a:pPr marL="0" marR="0" lvl="1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SG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    Vat 7%   =  13,685  THB</a:t>
                      </a:r>
                    </a:p>
                    <a:p>
                      <a:pPr marL="0" marR="0" lvl="1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th-TH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     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otal of Bud</a:t>
                      </a:r>
                      <a:r>
                        <a:rPr kumimoji="0" lang="th-TH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เ   209,185 </a:t>
                      </a:r>
                      <a:r>
                        <a:rPr kumimoji="0" lang="en-SG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B   </a:t>
                      </a:r>
                      <a:endParaRPr kumimoji="0" lang="th-TH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1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Wingdings" panose="05000000000000000000" pitchFamily="2" charset="2"/>
                      </a:endParaRPr>
                    </a:p>
                    <a:p>
                      <a:pPr marL="0" marR="0" lvl="1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Wingdings" panose="05000000000000000000" pitchFamily="2" charset="2"/>
                      </a:endParaRPr>
                    </a:p>
                    <a:p>
                      <a:pPr marL="0" marR="0" lvl="1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    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 </a:t>
                      </a:r>
                      <a:r>
                        <a:rPr kumimoji="0" lang="th-TH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Arial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ต้องมา 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Arial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Revise </a:t>
                      </a:r>
                      <a:r>
                        <a:rPr kumimoji="0" lang="th-TH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Arial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อีกครั้งตอน  ส่ง 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Arial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Change request </a:t>
                      </a:r>
                      <a:r>
                        <a:rPr kumimoji="0" lang="th-TH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Arial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ให้ 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Arial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Atos </a:t>
                      </a:r>
                      <a:r>
                        <a:rPr kumimoji="0" lang="th-TH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Arial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ประเมิน 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Arial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Actual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Arial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manday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Arial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 </a:t>
                      </a:r>
                      <a:r>
                        <a:rPr kumimoji="0" lang="th-TH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Arial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กลับมาค่ะ</a:t>
                      </a:r>
                      <a:endParaRPr kumimoji="0" lang="en-SG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83" marB="35983" horzOverflow="overflow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5" name="Group 3">
            <a:extLst>
              <a:ext uri="{FF2B5EF4-FFF2-40B4-BE49-F238E27FC236}">
                <a16:creationId xmlns:a16="http://schemas.microsoft.com/office/drawing/2014/main" id="{9C8D7D9C-7CBD-440A-B899-57A1FC891F8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58942281"/>
              </p:ext>
            </p:extLst>
          </p:nvPr>
        </p:nvGraphicFramePr>
        <p:xfrm>
          <a:off x="451175" y="4601082"/>
          <a:ext cx="5815400" cy="2165413"/>
        </p:xfrm>
        <a:graphic>
          <a:graphicData uri="http://schemas.openxmlformats.org/drawingml/2006/table">
            <a:tbl>
              <a:tblPr/>
              <a:tblGrid>
                <a:gridCol w="5815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02908">
                <a:tc>
                  <a:txBody>
                    <a:bodyPr/>
                    <a:lstStyle>
                      <a:lvl1pPr marL="0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93355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86691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480046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973382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466720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960078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453422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946760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SG" sz="12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roject Timeline/Due Date</a:t>
                      </a:r>
                    </a:p>
                  </a:txBody>
                  <a:tcPr marL="36000" marR="36000" marT="35983" marB="35983" anchor="ctr" anchorCtr="1" horzOverflow="overflow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62505">
                <a:tc>
                  <a:txBody>
                    <a:bodyPr/>
                    <a:lstStyle>
                      <a:lvl1pPr marL="0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93355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86691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480046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973382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466720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960078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453422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946760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1" indent="-17145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lan Project Kickoff                     03/04/2023</a:t>
                      </a:r>
                    </a:p>
                    <a:p>
                      <a:pPr marL="171450" marR="0" lvl="1" indent="-17145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mplement</a:t>
                      </a:r>
                    </a:p>
                    <a:p>
                      <a:pPr marL="171450" marR="0" lvl="1" indent="-17145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lan UAT / dd/mm/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yyyy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            </a:t>
                      </a:r>
                    </a:p>
                    <a:p>
                      <a:pPr marL="171450" marR="0" lvl="1" indent="-17145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lan Go-Live / dd/mm/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yyyy</a:t>
                      </a:r>
                      <a:endParaRPr kumimoji="0" lang="en-SG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83" marB="35983" horzOverflow="overflow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6" name="Group 3">
            <a:extLst>
              <a:ext uri="{FF2B5EF4-FFF2-40B4-BE49-F238E27FC236}">
                <a16:creationId xmlns:a16="http://schemas.microsoft.com/office/drawing/2014/main" id="{C1FF038D-1833-484B-B38F-EAB831CBBE7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10654522"/>
              </p:ext>
            </p:extLst>
          </p:nvPr>
        </p:nvGraphicFramePr>
        <p:xfrm>
          <a:off x="6400798" y="4601082"/>
          <a:ext cx="5561899" cy="2165413"/>
        </p:xfrm>
        <a:graphic>
          <a:graphicData uri="http://schemas.openxmlformats.org/drawingml/2006/table">
            <a:tbl>
              <a:tblPr/>
              <a:tblGrid>
                <a:gridCol w="55618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02908">
                <a:tc>
                  <a:txBody>
                    <a:bodyPr/>
                    <a:lstStyle>
                      <a:lvl1pPr marL="0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93355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86691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480046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973382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466720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960078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453422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946760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SG" sz="12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Leader / Team Member</a:t>
                      </a:r>
                    </a:p>
                  </a:txBody>
                  <a:tcPr marL="36000" marR="36000" marT="35983" marB="35983" anchor="ctr" anchorCtr="1" horzOverflow="overflow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62505">
                <a:tc>
                  <a:txBody>
                    <a:bodyPr/>
                    <a:lstStyle>
                      <a:lvl1pPr marL="0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93355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86691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480046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973382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466720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960078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453422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946760" algn="l" defTabSz="986691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1" indent="-17145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ject Leader : </a:t>
                      </a:r>
                      <a:r>
                        <a:rPr kumimoji="0" lang="en-US" sz="9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Jetsada</a:t>
                      </a: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9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kkasem</a:t>
                      </a: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/ Retail Sales</a:t>
                      </a:r>
                    </a:p>
                    <a:p>
                      <a:pPr marL="171450" marR="0" lvl="1" indent="-17145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Project Member</a:t>
                      </a:r>
                    </a:p>
                    <a:p>
                      <a:pPr marL="721936" marR="0" lvl="2" indent="-2286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Pakawadee</a:t>
                      </a: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9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Visudthimark</a:t>
                      </a: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/ Retail Sales</a:t>
                      </a:r>
                    </a:p>
                    <a:p>
                      <a:pPr marL="721936" marR="0" lvl="2" indent="-2286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Pongamorn</a:t>
                      </a: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9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Rodsed</a:t>
                      </a: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 / Digital Transformation </a:t>
                      </a:r>
                    </a:p>
                    <a:p>
                      <a:pPr marL="721936" marR="0" lvl="2" indent="-2286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Chutima</a:t>
                      </a: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9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Fookaew</a:t>
                      </a: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 / Digital Transformation </a:t>
                      </a:r>
                    </a:p>
                    <a:p>
                      <a:pPr marL="721936" marR="0" lvl="2" indent="-2286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Monrudee Jiankraingkai / Digital Transformation </a:t>
                      </a:r>
                    </a:p>
                    <a:p>
                      <a:pPr marL="721936" marR="0" lvl="2" indent="-2286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Patoorat</a:t>
                      </a: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9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Vorakulamornrat</a:t>
                      </a: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/ Digital Transformation </a:t>
                      </a:r>
                    </a:p>
                    <a:p>
                      <a:pPr marL="721936" marR="0" lvl="2" indent="-2286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Ornanong Burirak / Digital Transformation </a:t>
                      </a:r>
                    </a:p>
                    <a:p>
                      <a:pPr marL="721936" marR="0" lvl="2" indent="-2286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Kanokwan</a:t>
                      </a: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9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Phanthuyee</a:t>
                      </a: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/ Digital Transformation </a:t>
                      </a:r>
                    </a:p>
                  </a:txBody>
                  <a:tcPr marL="36000" marR="36000" marT="35983" marB="35983" horzOverflow="overflow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pSp>
        <p:nvGrpSpPr>
          <p:cNvPr id="14" name="Group 38">
            <a:extLst>
              <a:ext uri="{FF2B5EF4-FFF2-40B4-BE49-F238E27FC236}">
                <a16:creationId xmlns:a16="http://schemas.microsoft.com/office/drawing/2014/main" id="{F575FD11-D293-4903-A4B3-AC97C8791AD8}"/>
              </a:ext>
            </a:extLst>
          </p:cNvPr>
          <p:cNvGrpSpPr>
            <a:grpSpLocks/>
          </p:cNvGrpSpPr>
          <p:nvPr/>
        </p:nvGrpSpPr>
        <p:grpSpPr bwMode="auto">
          <a:xfrm>
            <a:off x="8925812" y="91501"/>
            <a:ext cx="1584325" cy="563072"/>
            <a:chOff x="393698" y="1450587"/>
            <a:chExt cx="3997326" cy="658365"/>
          </a:xfrm>
        </p:grpSpPr>
        <p:sp>
          <p:nvSpPr>
            <p:cNvPr id="17" name="Text Box 10">
              <a:extLst>
                <a:ext uri="{FF2B5EF4-FFF2-40B4-BE49-F238E27FC236}">
                  <a16:creationId xmlns:a16="http://schemas.microsoft.com/office/drawing/2014/main" id="{D4BE69BD-AACA-4F5C-B860-15FA0732694C}"/>
                </a:ext>
              </a:extLst>
            </p:cNvPr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93698" y="1450587"/>
              <a:ext cx="3997326" cy="175451"/>
            </a:xfrm>
            <a:prstGeom prst="rect">
              <a:avLst/>
            </a:prstGeom>
            <a:solidFill>
              <a:schemeClr val="accent1"/>
            </a:solidFill>
            <a:ln w="12700" algn="ctr">
              <a:solidFill>
                <a:schemeClr val="accent1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>
              <a:lvl1pPr defTabSz="957263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57263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57263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57263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57263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/>
              <a:r>
                <a:rPr lang="en-SG" altLang="en-US" sz="1400" b="1" dirty="0">
                  <a:solidFill>
                    <a:schemeClr val="bg1"/>
                  </a:solidFill>
                  <a:latin typeface="Arial"/>
                  <a:cs typeface="Arial"/>
                </a:rPr>
                <a:t>Change</a:t>
              </a:r>
              <a:r>
                <a:rPr lang="en-SG" altLang="en-US" sz="1600" b="1" dirty="0">
                  <a:solidFill>
                    <a:schemeClr val="bg1"/>
                  </a:solidFill>
                  <a:latin typeface="Arial"/>
                  <a:cs typeface="Arial"/>
                </a:rPr>
                <a:t> No.</a:t>
              </a:r>
              <a:endParaRPr lang="en-SG" alt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8" name="Text Placeholder 5">
              <a:extLst>
                <a:ext uri="{FF2B5EF4-FFF2-40B4-BE49-F238E27FC236}">
                  <a16:creationId xmlns:a16="http://schemas.microsoft.com/office/drawing/2014/main" id="{6A0C5F48-5C06-4FE4-AD71-4439BAE32851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93698" y="1626041"/>
              <a:ext cx="3997326" cy="482911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36000" tIns="36000" rIns="36000" bIns="36000" anchor="ctr"/>
            <a:lstStyle>
              <a:lvl1pPr defTabSz="957263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57263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57263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57263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57263"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>
                <a:spcBef>
                  <a:spcPts val="400"/>
                </a:spcBef>
              </a:pPr>
              <a:r>
                <a:rPr lang="en-SG" altLang="en-US" sz="1400" b="1" dirty="0">
                  <a:solidFill>
                    <a:schemeClr val="bg1">
                      <a:lumMod val="75000"/>
                    </a:schemeClr>
                  </a:solidFill>
                  <a:latin typeface="Arial"/>
                  <a:cs typeface="Arial"/>
                </a:rPr>
                <a:t>Change Number</a:t>
              </a:r>
              <a:endParaRPr lang="en-SG" altLang="en-US" sz="1400" b="1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</p:grpSp>
      <p:sp>
        <p:nvSpPr>
          <p:cNvPr id="2" name="Arrow: Right 1">
            <a:extLst>
              <a:ext uri="{FF2B5EF4-FFF2-40B4-BE49-F238E27FC236}">
                <a16:creationId xmlns:a16="http://schemas.microsoft.com/office/drawing/2014/main" id="{C0F61434-E218-A8A8-61DC-4F88BE96A745}"/>
              </a:ext>
            </a:extLst>
          </p:cNvPr>
          <p:cNvSpPr/>
          <p:nvPr/>
        </p:nvSpPr>
        <p:spPr>
          <a:xfrm rot="16200000">
            <a:off x="6870551" y="3353625"/>
            <a:ext cx="310964" cy="12174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30468809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05A05832A108E4A9A48FB8D6BDCAE01" ma:contentTypeVersion="9" ma:contentTypeDescription="Create a new document." ma:contentTypeScope="" ma:versionID="21eccf28a34137ca6d8ca7b3173c406c">
  <xsd:schema xmlns:xsd="http://www.w3.org/2001/XMLSchema" xmlns:xs="http://www.w3.org/2001/XMLSchema" xmlns:p="http://schemas.microsoft.com/office/2006/metadata/properties" xmlns:ns2="3a7c7235-df3b-44e5-b5a2-711fdcfcf491" xmlns:ns3="ab66f8e4-49c4-4cab-89da-18aa94ae13ff" targetNamespace="http://schemas.microsoft.com/office/2006/metadata/properties" ma:root="true" ma:fieldsID="7504252bbf060edcd3c9247ee154e997" ns2:_="" ns3:_="">
    <xsd:import namespace="3a7c7235-df3b-44e5-b5a2-711fdcfcf491"/>
    <xsd:import namespace="ab66f8e4-49c4-4cab-89da-18aa94ae13f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7c7235-df3b-44e5-b5a2-711fdcfcf4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66f8e4-49c4-4cab-89da-18aa94ae13ff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9266A91-0BD0-4FE9-BBFD-D430E81521C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78D6E67-1D5A-445E-83DC-CEA0F06727F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EC8D913-E1FA-4FAE-A9B4-B74DD058D5B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a7c7235-df3b-44e5-b5a2-711fdcfcf491"/>
    <ds:schemaRef ds:uri="ab66f8e4-49c4-4cab-89da-18aa94ae13f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7</TotalTime>
  <Words>189</Words>
  <Application>Microsoft Office PowerPoint</Application>
  <PresentationFormat>Widescreen</PresentationFormat>
  <Paragraphs>35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Tahoma</vt:lpstr>
      <vt:lpstr>Wingdings 2</vt:lpstr>
      <vt:lpstr>Office Them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umpol Dansirikul</dc:creator>
  <cp:lastModifiedBy>Monrudee Jiankraingkai</cp:lastModifiedBy>
  <cp:revision>17</cp:revision>
  <dcterms:created xsi:type="dcterms:W3CDTF">2021-09-20T08:12:05Z</dcterms:created>
  <dcterms:modified xsi:type="dcterms:W3CDTF">2023-03-03T02:44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05A05832A108E4A9A48FB8D6BDCAE01</vt:lpwstr>
  </property>
</Properties>
</file>